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9152" r:id="rId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24A"/>
    <a:srgbClr val="ACA8C4"/>
    <a:srgbClr val="084F91"/>
    <a:srgbClr val="F03D6F"/>
    <a:srgbClr val="333333"/>
    <a:srgbClr val="B4D4CF"/>
    <a:srgbClr val="FBCCD9"/>
    <a:srgbClr val="FDEBF0"/>
    <a:srgbClr val="B02121"/>
    <a:srgbClr val="349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931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36243483423734E-2"/>
          <c:y val="3.8242700625369191E-2"/>
          <c:w val="0.91742214413038292"/>
          <c:h val="0.653297481746153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иклиники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2"/>
              </a:solidFill>
              <a:ln w="222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84F9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04.25</c:v>
                </c:pt>
                <c:pt idx="1">
                  <c:v>13091.5</c:v>
                </c:pt>
                <c:pt idx="2">
                  <c:v>1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55-4609-9B29-DEDA2226D48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тские поликлиники</c:v>
                </c:pt>
              </c:strCache>
            </c:strRef>
          </c:tx>
          <c:spPr>
            <a:ln w="28575" cap="rnd">
              <a:solidFill>
                <a:srgbClr val="B0212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B02121"/>
              </a:solidFill>
              <a:ln w="95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268.5</c:v>
                </c:pt>
                <c:pt idx="1">
                  <c:v>2311.25</c:v>
                </c:pt>
                <c:pt idx="2">
                  <c:v>216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55-4609-9B29-DEDA2226D48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78176751"/>
        <c:axId val="1186412783"/>
      </c:lineChart>
      <c:catAx>
        <c:axId val="1178176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1186412783"/>
        <c:crosses val="autoZero"/>
        <c:auto val="1"/>
        <c:lblAlgn val="ctr"/>
        <c:lblOffset val="100"/>
        <c:noMultiLvlLbl val="0"/>
      </c:catAx>
      <c:valAx>
        <c:axId val="1186412783"/>
        <c:scaling>
          <c:orientation val="minMax"/>
          <c:max val="16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8176751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720C4B-DA76-46FC-8657-811DA01C616D}" type="datetimeFigureOut">
              <a:rPr lang="ru-RU" smtClean="0"/>
              <a:t>01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02C6A-BD3E-41B8-A8E7-C80DF15423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533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0976">
              <a:defRPr/>
            </a:pPr>
            <a:fld id="{92B6347B-C680-4D11-B98F-1B3A6E1FB2E8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50976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55101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5823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1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3532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2" imgH="353" progId="TCLayout.ActiveDocument.1">
                  <p:embed/>
                </p:oleObj>
              </mc:Choice>
              <mc:Fallback>
                <p:oleObj name="Слайд think-cell" r:id="rId3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71598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1173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274DF1-373A-4D6A-B0A4-A61611F74593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  <a:sym typeface="Roboto Light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+mn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231843" y="231177"/>
            <a:ext cx="8886826" cy="662782"/>
          </a:xfrm>
        </p:spPr>
        <p:txBody>
          <a:bodyPr lIns="0" tIns="0" rIns="0" bIns="0" anchor="t">
            <a:normAutofit/>
          </a:bodyPr>
          <a:lstStyle>
            <a:lvl1pPr>
              <a:defRPr sz="2400">
                <a:solidFill>
                  <a:srgbClr val="084F9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A259158-C00C-4008-B206-0E2AE17ED3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129580"/>
            <a:ext cx="1777463" cy="54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75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3840">
          <p15:clr>
            <a:srgbClr val="FBAE40"/>
          </p15:clr>
        </p15:guide>
        <p15:guide id="4" pos="7423">
          <p15:clr>
            <a:srgbClr val="FBAE40"/>
          </p15:clr>
        </p15:guide>
        <p15:guide id="5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F7D8B5-1751-4EE2-9052-C2180A634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1910" y="6230391"/>
            <a:ext cx="631873" cy="511175"/>
          </a:xfrm>
          <a:prstGeom prst="rect">
            <a:avLst/>
          </a:prstGeom>
        </p:spPr>
        <p:txBody>
          <a:bodyPr/>
          <a:lstStyle>
            <a:lvl1pPr algn="ctr">
              <a:defRPr sz="1680">
                <a:solidFill>
                  <a:srgbClr val="B02020"/>
                </a:solidFill>
                <a:latin typeface="Montserrat regular" pitchFamily="2" charset="-52"/>
              </a:defRPr>
            </a:lvl1pPr>
          </a:lstStyle>
          <a:p>
            <a:fld id="{8DB86FC8-E4E6-4A7F-967E-5AA6B53A30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7C005C4-9E86-4F03-8305-490015712A01}"/>
              </a:ext>
            </a:extLst>
          </p:cNvPr>
          <p:cNvCxnSpPr>
            <a:cxnSpLocks/>
          </p:cNvCxnSpPr>
          <p:nvPr userDrawn="1"/>
        </p:nvCxnSpPr>
        <p:spPr>
          <a:xfrm>
            <a:off x="1919368" y="6484357"/>
            <a:ext cx="9472532" cy="0"/>
          </a:xfrm>
          <a:prstGeom prst="line">
            <a:avLst/>
          </a:prstGeom>
          <a:ln w="12700">
            <a:solidFill>
              <a:srgbClr val="B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B2BF578-FDD3-4ED8-B05B-F227C54379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6278016"/>
            <a:ext cx="1378455" cy="4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281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1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47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7" r:id="rId5"/>
    <p:sldLayoutId id="2147483668" r:id="rId6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9347F1D-F75B-41B1-BE52-F181FA007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162500"/>
          </a:xfrm>
        </p:spPr>
        <p:txBody>
          <a:bodyPr vert="horz" lIns="0" tIns="0" rIns="0" bIns="0" rtlCol="0" anchor="t">
            <a:noAutofit/>
          </a:bodyPr>
          <a:lstStyle/>
          <a:p>
            <a:pPr lvl="0">
              <a:defRPr/>
            </a:pPr>
            <a:r>
              <a:rPr lang="ru-RU" sz="1400" b="1" cap="all" dirty="0">
                <a:solidFill>
                  <a:srgbClr val="33333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инамика Числа занятых должностей (врачи) в регионе </a:t>
            </a:r>
            <a:r>
              <a:rPr lang="en-US" sz="1400" b="1" cap="all" dirty="0" err="1">
                <a:solidFill>
                  <a:srgbClr val="333333"/>
                </a:solidFill>
                <a:highlight>
                  <a:srgbClr val="C0C0C0"/>
                </a:highligh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reporting_region</a:t>
            </a:r>
            <a:endParaRPr lang="ru-RU" sz="1050" cap="all" dirty="0">
              <a:solidFill>
                <a:srgbClr val="333333"/>
              </a:solidFill>
              <a:highlight>
                <a:srgbClr val="C0C0C0"/>
              </a:highlight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24312FAA-7076-45FA-9E97-E9C741A5942E}"/>
              </a:ext>
            </a:extLst>
          </p:cNvPr>
          <p:cNvSpPr/>
          <p:nvPr/>
        </p:nvSpPr>
        <p:spPr>
          <a:xfrm>
            <a:off x="7594006" y="1092379"/>
            <a:ext cx="3733203" cy="814293"/>
          </a:xfrm>
          <a:prstGeom prst="roundRect">
            <a:avLst/>
          </a:prstGeom>
          <a:solidFill>
            <a:srgbClr val="B02121">
              <a:alpha val="5000"/>
            </a:srgbClr>
          </a:solidFill>
          <a:ln>
            <a:solidFill>
              <a:srgbClr val="B02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4516E5F-59F8-42EF-AA9B-AEF61A75F408}"/>
              </a:ext>
            </a:extLst>
          </p:cNvPr>
          <p:cNvSpPr/>
          <p:nvPr/>
        </p:nvSpPr>
        <p:spPr>
          <a:xfrm>
            <a:off x="7594006" y="2129127"/>
            <a:ext cx="3733203" cy="814293"/>
          </a:xfrm>
          <a:prstGeom prst="roundRect">
            <a:avLst/>
          </a:prstGeom>
          <a:solidFill>
            <a:schemeClr val="bg2">
              <a:alpha val="1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F7E4BF94-047E-499F-89CD-263CDB240AB1}"/>
              </a:ext>
            </a:extLst>
          </p:cNvPr>
          <p:cNvSpPr/>
          <p:nvPr/>
        </p:nvSpPr>
        <p:spPr>
          <a:xfrm>
            <a:off x="9513199" y="2473795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1CA188-1902-4F8A-8EC8-3FADB14D66CD}"/>
              </a:ext>
            </a:extLst>
          </p:cNvPr>
          <p:cNvSpPr txBox="1"/>
          <p:nvPr/>
        </p:nvSpPr>
        <p:spPr>
          <a:xfrm>
            <a:off x="7769916" y="1174942"/>
            <a:ext cx="1640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Детские поликлиники</a:t>
            </a:r>
          </a:p>
        </p:txBody>
      </p:sp>
      <p:sp>
        <p:nvSpPr>
          <p:cNvPr id="10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B8F944DA-D2E2-48D5-B226-A9A2833AD528}"/>
              </a:ext>
            </a:extLst>
          </p:cNvPr>
          <p:cNvSpPr/>
          <p:nvPr/>
        </p:nvSpPr>
        <p:spPr>
          <a:xfrm>
            <a:off x="9498765" y="1398486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rgbClr val="B0212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ED7D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27F82-EFFD-48D9-A2B6-64209DB62E1F}"/>
              </a:ext>
            </a:extLst>
          </p:cNvPr>
          <p:cNvSpPr txBox="1"/>
          <p:nvPr/>
        </p:nvSpPr>
        <p:spPr>
          <a:xfrm>
            <a:off x="9543058" y="2290494"/>
            <a:ext cx="18608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adul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E63521-3959-4D6F-8F38-D907F08E3EF6}"/>
              </a:ext>
            </a:extLst>
          </p:cNvPr>
          <p:cNvSpPr txBox="1"/>
          <p:nvPr/>
        </p:nvSpPr>
        <p:spPr>
          <a:xfrm>
            <a:off x="9630970" y="1232037"/>
            <a:ext cx="1640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rgbClr val="B02121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ki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F88762-26B2-4F11-B197-6BAC71CA6F84}"/>
              </a:ext>
            </a:extLst>
          </p:cNvPr>
          <p:cNvSpPr txBox="1"/>
          <p:nvPr/>
        </p:nvSpPr>
        <p:spPr>
          <a:xfrm>
            <a:off x="7777589" y="2367438"/>
            <a:ext cx="1640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ликлиники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557177D1-3A2D-421E-991E-DFE5137275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51723"/>
              </p:ext>
            </p:extLst>
          </p:nvPr>
        </p:nvGraphicFramePr>
        <p:xfrm>
          <a:off x="1019508" y="4770915"/>
          <a:ext cx="11018602" cy="1557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8838">
                  <a:extLst>
                    <a:ext uri="{9D8B030D-6E8A-4147-A177-3AD203B41FA5}">
                      <a16:colId xmlns:a16="http://schemas.microsoft.com/office/drawing/2014/main" val="2136103591"/>
                    </a:ext>
                  </a:extLst>
                </a:gridCol>
                <a:gridCol w="969268">
                  <a:extLst>
                    <a:ext uri="{9D8B030D-6E8A-4147-A177-3AD203B41FA5}">
                      <a16:colId xmlns:a16="http://schemas.microsoft.com/office/drawing/2014/main" val="1320333608"/>
                    </a:ext>
                  </a:extLst>
                </a:gridCol>
                <a:gridCol w="1100182">
                  <a:extLst>
                    <a:ext uri="{9D8B030D-6E8A-4147-A177-3AD203B41FA5}">
                      <a16:colId xmlns:a16="http://schemas.microsoft.com/office/drawing/2014/main" val="2285655359"/>
                    </a:ext>
                  </a:extLst>
                </a:gridCol>
                <a:gridCol w="1082351">
                  <a:extLst>
                    <a:ext uri="{9D8B030D-6E8A-4147-A177-3AD203B41FA5}">
                      <a16:colId xmlns:a16="http://schemas.microsoft.com/office/drawing/2014/main" val="978395404"/>
                    </a:ext>
                  </a:extLst>
                </a:gridCol>
                <a:gridCol w="1166326">
                  <a:extLst>
                    <a:ext uri="{9D8B030D-6E8A-4147-A177-3AD203B41FA5}">
                      <a16:colId xmlns:a16="http://schemas.microsoft.com/office/drawing/2014/main" val="491691263"/>
                    </a:ext>
                  </a:extLst>
                </a:gridCol>
                <a:gridCol w="1187323">
                  <a:extLst>
                    <a:ext uri="{9D8B030D-6E8A-4147-A177-3AD203B41FA5}">
                      <a16:colId xmlns:a16="http://schemas.microsoft.com/office/drawing/2014/main" val="4217988657"/>
                    </a:ext>
                  </a:extLst>
                </a:gridCol>
                <a:gridCol w="1044314">
                  <a:extLst>
                    <a:ext uri="{9D8B030D-6E8A-4147-A177-3AD203B41FA5}">
                      <a16:colId xmlns:a16="http://schemas.microsoft.com/office/drawing/2014/main" val="2391929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всех организаций в субъекте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endParaRPr lang="ru-RU" sz="16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202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unt_org_rank_2024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rank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148132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Число должностей врачей, </a:t>
                      </a:r>
                      <a:r>
                        <a:rPr lang="ru-RU" sz="1600" b="1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202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ctors_rank_2024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1" dirty="0">
                          <a:solidFill>
                            <a:schemeClr val="tx2">
                              <a:lumMod val="75000"/>
                            </a:schemeClr>
                          </a:solidFill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rank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562579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должностей среднего медперсонала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_202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urse_rank_2024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_rank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21815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75172DF-9D2E-4B2E-AB1E-FB9C3C4EFA0D}"/>
              </a:ext>
            </a:extLst>
          </p:cNvPr>
          <p:cNvSpPr txBox="1"/>
          <p:nvPr/>
        </p:nvSpPr>
        <p:spPr>
          <a:xfrm>
            <a:off x="1241534" y="3329728"/>
            <a:ext cx="101623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нговые места региона </a:t>
            </a:r>
            <a:r>
              <a:rPr lang="en-US" b="1" dirty="0" err="1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reporting_region</a:t>
            </a:r>
            <a:r>
              <a:rPr lang="en-US" b="1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 уровню основных показателей </a:t>
            </a:r>
          </a:p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умма амбулаторий, поликлиник и детских поликлиник) в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vent_year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одах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8F6383-6C00-44FD-BED2-649AE3964CA5}"/>
              </a:ext>
            </a:extLst>
          </p:cNvPr>
          <p:cNvSpPr txBox="1"/>
          <p:nvPr/>
        </p:nvSpPr>
        <p:spPr>
          <a:xfrm>
            <a:off x="5437414" y="4193662"/>
            <a:ext cx="1707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event_yea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E54BA6-31BC-4456-B72C-62FC724B0C7D}"/>
              </a:ext>
            </a:extLst>
          </p:cNvPr>
          <p:cNvSpPr txBox="1"/>
          <p:nvPr/>
        </p:nvSpPr>
        <p:spPr>
          <a:xfrm>
            <a:off x="9124833" y="4233375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2BF53489-2087-4596-AA7B-A2F44566841B}"/>
              </a:ext>
            </a:extLst>
          </p:cNvPr>
          <p:cNvCxnSpPr>
            <a:cxnSpLocks/>
          </p:cNvCxnSpPr>
          <p:nvPr/>
        </p:nvCxnSpPr>
        <p:spPr>
          <a:xfrm>
            <a:off x="7769916" y="4948657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361274AD-3E05-4DAB-8E7B-86ADD28C51A4}"/>
              </a:ext>
            </a:extLst>
          </p:cNvPr>
          <p:cNvCxnSpPr>
            <a:cxnSpLocks/>
          </p:cNvCxnSpPr>
          <p:nvPr/>
        </p:nvCxnSpPr>
        <p:spPr>
          <a:xfrm>
            <a:off x="7769916" y="5429420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C52661FE-95AE-4529-AB53-4EC040AA7926}"/>
              </a:ext>
            </a:extLst>
          </p:cNvPr>
          <p:cNvCxnSpPr>
            <a:cxnSpLocks/>
          </p:cNvCxnSpPr>
          <p:nvPr/>
        </p:nvCxnSpPr>
        <p:spPr>
          <a:xfrm>
            <a:off x="7777589" y="5862619"/>
            <a:ext cx="72031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0AB9DF9A-50D4-4999-A3F2-98ADF58388D1}"/>
              </a:ext>
            </a:extLst>
          </p:cNvPr>
          <p:cNvCxnSpPr>
            <a:cxnSpLocks/>
          </p:cNvCxnSpPr>
          <p:nvPr/>
        </p:nvCxnSpPr>
        <p:spPr>
          <a:xfrm flipH="1">
            <a:off x="367323" y="3122424"/>
            <a:ext cx="1145735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FBD25734-220B-443E-BBC6-305097AF2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9654615"/>
              </p:ext>
            </p:extLst>
          </p:nvPr>
        </p:nvGraphicFramePr>
        <p:xfrm>
          <a:off x="316125" y="650690"/>
          <a:ext cx="7222159" cy="2425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F834B71-1FBD-4274-8CD5-E908B1C2DFC2}"/>
              </a:ext>
            </a:extLst>
          </p:cNvPr>
          <p:cNvSpPr txBox="1"/>
          <p:nvPr/>
        </p:nvSpPr>
        <p:spPr>
          <a:xfrm>
            <a:off x="5596978" y="4510374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8D8C3-8008-4B87-8C5C-65334DABAB52}"/>
              </a:ext>
            </a:extLst>
          </p:cNvPr>
          <p:cNvSpPr txBox="1"/>
          <p:nvPr/>
        </p:nvSpPr>
        <p:spPr>
          <a:xfrm>
            <a:off x="6459738" y="4496103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E276D2-5D66-4BD5-A8C9-C77484EE3539}"/>
              </a:ext>
            </a:extLst>
          </p:cNvPr>
          <p:cNvSpPr txBox="1"/>
          <p:nvPr/>
        </p:nvSpPr>
        <p:spPr>
          <a:xfrm>
            <a:off x="9068901" y="453001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725AE60-D1F3-4FB4-B6A6-3B477055BBF8}"/>
              </a:ext>
            </a:extLst>
          </p:cNvPr>
          <p:cNvSpPr txBox="1"/>
          <p:nvPr/>
        </p:nvSpPr>
        <p:spPr>
          <a:xfrm>
            <a:off x="10105033" y="450523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B22A9E-6004-4133-AD97-EEC27112F5EA}"/>
              </a:ext>
            </a:extLst>
          </p:cNvPr>
          <p:cNvSpPr txBox="1"/>
          <p:nvPr/>
        </p:nvSpPr>
        <p:spPr>
          <a:xfrm>
            <a:off x="8497903" y="702859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2 год</a:t>
            </a:r>
          </a:p>
        </p:txBody>
      </p:sp>
    </p:spTree>
    <p:extLst>
      <p:ext uri="{BB962C8B-B14F-4D97-AF65-F5344CB8AC3E}">
        <p14:creationId xmlns:p14="http://schemas.microsoft.com/office/powerpoint/2010/main" val="1022169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5</TotalTime>
  <Words>138</Words>
  <Application>Microsoft Office PowerPoint</Application>
  <PresentationFormat>Широкоэкранный</PresentationFormat>
  <Paragraphs>3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Montserrat regular</vt:lpstr>
      <vt:lpstr>Roboto</vt:lpstr>
      <vt:lpstr>Roboto Light</vt:lpstr>
      <vt:lpstr>Roboto Medium</vt:lpstr>
      <vt:lpstr>Roboto Thin</vt:lpstr>
      <vt:lpstr>ЦНИИОИЗ_08.10</vt:lpstr>
      <vt:lpstr>Слайд think-cell</vt:lpstr>
      <vt:lpstr>Динамика Числа занятых должностей (врачи) в регионе reporting_reg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щИЙ КОЭФФИЦИЕНТ смертностИ населения В Липецкой области И ДОЛЯ УМЕРШИХ НА ДОМУ И В ДРУГОМ МЕСТЕ</dc:title>
  <dc:creator>Соломатников Иван Алексеевич</dc:creator>
  <cp:lastModifiedBy>Zigfrid</cp:lastModifiedBy>
  <cp:revision>326</cp:revision>
  <cp:lastPrinted>2023-09-25T13:18:27Z</cp:lastPrinted>
  <dcterms:created xsi:type="dcterms:W3CDTF">2023-06-08T18:58:01Z</dcterms:created>
  <dcterms:modified xsi:type="dcterms:W3CDTF">2025-08-01T22:53:15Z</dcterms:modified>
</cp:coreProperties>
</file>